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8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FA2"/>
    <a:srgbClr val="FCC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59D0E3-E8C0-4D4C-B220-23908AA3AE78}" v="152" dt="2022-11-29T16:46:01.0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rk, Chahee" userId="2b314349-1f05-4a5b-b39e-17b2a480f60c" providerId="ADAL" clId="{8159D0E3-E8C0-4D4C-B220-23908AA3AE78}"/>
    <pc:docChg chg="undo custSel addSld delSld modSld modMainMaster replTag">
      <pc:chgData name="Park, Chahee" userId="2b314349-1f05-4a5b-b39e-17b2a480f60c" providerId="ADAL" clId="{8159D0E3-E8C0-4D4C-B220-23908AA3AE78}" dt="2022-11-29T16:46:01.018" v="1819" actId="1076"/>
      <pc:docMkLst>
        <pc:docMk/>
      </pc:docMkLst>
      <pc:sldChg chg="addSp delSp modSp new add mod modClrScheme chgLayout">
        <pc:chgData name="Park, Chahee" userId="2b314349-1f05-4a5b-b39e-17b2a480f60c" providerId="ADAL" clId="{8159D0E3-E8C0-4D4C-B220-23908AA3AE78}" dt="2022-11-29T16:44:57.504" v="1791" actId="14100"/>
        <pc:sldMkLst>
          <pc:docMk/>
          <pc:sldMk cId="153520715" sldId="256"/>
        </pc:sldMkLst>
        <pc:spChg chg="del">
          <ac:chgData name="Park, Chahee" userId="2b314349-1f05-4a5b-b39e-17b2a480f60c" providerId="ADAL" clId="{8159D0E3-E8C0-4D4C-B220-23908AA3AE78}" dt="2022-11-28T21:25:54.366" v="5"/>
          <ac:spMkLst>
            <pc:docMk/>
            <pc:sldMk cId="153520715" sldId="256"/>
            <ac:spMk id="2" creationId="{9660CBFF-06AB-90F0-3B5B-C04C3413CCCC}"/>
          </ac:spMkLst>
        </pc:spChg>
        <pc:spChg chg="add del mod">
          <ac:chgData name="Park, Chahee" userId="2b314349-1f05-4a5b-b39e-17b2a480f60c" providerId="ADAL" clId="{8159D0E3-E8C0-4D4C-B220-23908AA3AE78}" dt="2022-11-29T15:55:05.104" v="478" actId="478"/>
          <ac:spMkLst>
            <pc:docMk/>
            <pc:sldMk cId="153520715" sldId="256"/>
            <ac:spMk id="2" creationId="{BE12B388-BE69-F5CE-8E99-7F37007948D8}"/>
          </ac:spMkLst>
        </pc:spChg>
        <pc:spChg chg="del">
          <ac:chgData name="Park, Chahee" userId="2b314349-1f05-4a5b-b39e-17b2a480f60c" providerId="ADAL" clId="{8159D0E3-E8C0-4D4C-B220-23908AA3AE78}" dt="2022-11-28T21:25:54.366" v="5"/>
          <ac:spMkLst>
            <pc:docMk/>
            <pc:sldMk cId="153520715" sldId="256"/>
            <ac:spMk id="3" creationId="{42BE6951-8ED6-4C59-D050-CF8628DC2E47}"/>
          </ac:spMkLst>
        </pc:spChg>
        <pc:spChg chg="add del mod">
          <ac:chgData name="Park, Chahee" userId="2b314349-1f05-4a5b-b39e-17b2a480f60c" providerId="ADAL" clId="{8159D0E3-E8C0-4D4C-B220-23908AA3AE78}" dt="2022-11-29T15:55:05.104" v="478" actId="478"/>
          <ac:spMkLst>
            <pc:docMk/>
            <pc:sldMk cId="153520715" sldId="256"/>
            <ac:spMk id="3" creationId="{F9E8026A-24F6-661F-1327-05C89A172E91}"/>
          </ac:spMkLst>
        </pc:spChg>
        <pc:spChg chg="add del mod">
          <ac:chgData name="Park, Chahee" userId="2b314349-1f05-4a5b-b39e-17b2a480f60c" providerId="ADAL" clId="{8159D0E3-E8C0-4D4C-B220-23908AA3AE78}" dt="2022-11-29T15:50:14.128" v="251"/>
          <ac:spMkLst>
            <pc:docMk/>
            <pc:sldMk cId="153520715" sldId="256"/>
            <ac:spMk id="5" creationId="{42A993EA-9023-1E96-2F13-B49EC7DEA8C3}"/>
          </ac:spMkLst>
        </pc:spChg>
        <pc:spChg chg="add del mod">
          <ac:chgData name="Park, Chahee" userId="2b314349-1f05-4a5b-b39e-17b2a480f60c" providerId="ADAL" clId="{8159D0E3-E8C0-4D4C-B220-23908AA3AE78}" dt="2022-11-29T15:49:17.378" v="234" actId="478"/>
          <ac:spMkLst>
            <pc:docMk/>
            <pc:sldMk cId="153520715" sldId="256"/>
            <ac:spMk id="6" creationId="{601CAB1E-5DBC-0BE7-125E-CEF0B71B5BD0}"/>
          </ac:spMkLst>
        </pc:spChg>
        <pc:spChg chg="add del mod">
          <ac:chgData name="Park, Chahee" userId="2b314349-1f05-4a5b-b39e-17b2a480f60c" providerId="ADAL" clId="{8159D0E3-E8C0-4D4C-B220-23908AA3AE78}" dt="2022-11-29T15:51:17.710" v="305" actId="478"/>
          <ac:spMkLst>
            <pc:docMk/>
            <pc:sldMk cId="153520715" sldId="256"/>
            <ac:spMk id="7" creationId="{5AEBED91-5904-BD2A-2CA3-D31FEA7E4483}"/>
          </ac:spMkLst>
        </pc:spChg>
        <pc:spChg chg="mod ord">
          <ac:chgData name="Park, Chahee" userId="2b314349-1f05-4a5b-b39e-17b2a480f60c" providerId="ADAL" clId="{8159D0E3-E8C0-4D4C-B220-23908AA3AE78}" dt="2022-11-29T16:33:34.057" v="1488"/>
          <ac:spMkLst>
            <pc:docMk/>
            <pc:sldMk cId="153520715" sldId="256"/>
            <ac:spMk id="8" creationId="{0CB3786D-A823-EBDE-0E0D-5B8C8372163B}"/>
          </ac:spMkLst>
        </pc:spChg>
        <pc:spChg chg="mod ord">
          <ac:chgData name="Park, Chahee" userId="2b314349-1f05-4a5b-b39e-17b2a480f60c" providerId="ADAL" clId="{8159D0E3-E8C0-4D4C-B220-23908AA3AE78}" dt="2022-11-29T16:33:34.057" v="1488"/>
          <ac:spMkLst>
            <pc:docMk/>
            <pc:sldMk cId="153520715" sldId="256"/>
            <ac:spMk id="9" creationId="{C76B83D6-CE32-448D-C0E1-A0F577F08E28}"/>
          </ac:spMkLst>
        </pc:spChg>
        <pc:spChg chg="add mod">
          <ac:chgData name="Park, Chahee" userId="2b314349-1f05-4a5b-b39e-17b2a480f60c" providerId="ADAL" clId="{8159D0E3-E8C0-4D4C-B220-23908AA3AE78}" dt="2022-11-29T16:10:22.199" v="1451" actId="6549"/>
          <ac:spMkLst>
            <pc:docMk/>
            <pc:sldMk cId="153520715" sldId="256"/>
            <ac:spMk id="11" creationId="{E771FB3B-CE12-A03E-2F70-7AC1B3B552F1}"/>
          </ac:spMkLst>
        </pc:spChg>
        <pc:spChg chg="add del mod">
          <ac:chgData name="Park, Chahee" userId="2b314349-1f05-4a5b-b39e-17b2a480f60c" providerId="ADAL" clId="{8159D0E3-E8C0-4D4C-B220-23908AA3AE78}" dt="2022-11-29T16:10:00.121" v="1442" actId="2085"/>
          <ac:spMkLst>
            <pc:docMk/>
            <pc:sldMk cId="153520715" sldId="256"/>
            <ac:spMk id="12" creationId="{55C5DE31-61EA-8A94-3B9E-7B9F765B7481}"/>
          </ac:spMkLst>
        </pc:spChg>
        <pc:spChg chg="add del mod">
          <ac:chgData name="Park, Chahee" userId="2b314349-1f05-4a5b-b39e-17b2a480f60c" providerId="ADAL" clId="{8159D0E3-E8C0-4D4C-B220-23908AA3AE78}" dt="2022-11-29T16:09:56.074" v="1439"/>
          <ac:spMkLst>
            <pc:docMk/>
            <pc:sldMk cId="153520715" sldId="256"/>
            <ac:spMk id="13" creationId="{40A85AAA-2D0A-2425-866A-06BDA22242BF}"/>
          </ac:spMkLst>
        </pc:spChg>
        <pc:spChg chg="add del mod ord">
          <ac:chgData name="Park, Chahee" userId="2b314349-1f05-4a5b-b39e-17b2a480f60c" providerId="ADAL" clId="{8159D0E3-E8C0-4D4C-B220-23908AA3AE78}" dt="2022-11-29T16:34:52.758" v="1524" actId="948"/>
          <ac:spMkLst>
            <pc:docMk/>
            <pc:sldMk cId="153520715" sldId="256"/>
            <ac:spMk id="14" creationId="{3A1EF7C4-8F47-5C09-326F-AA278D3B6A2D}"/>
          </ac:spMkLst>
        </pc:spChg>
        <pc:spChg chg="add del mod ord">
          <ac:chgData name="Park, Chahee" userId="2b314349-1f05-4a5b-b39e-17b2a480f60c" providerId="ADAL" clId="{8159D0E3-E8C0-4D4C-B220-23908AA3AE78}" dt="2022-11-29T16:33:34.057" v="1488"/>
          <ac:spMkLst>
            <pc:docMk/>
            <pc:sldMk cId="153520715" sldId="256"/>
            <ac:spMk id="15" creationId="{891CDAA5-EDDC-C10B-7633-F13242683BA2}"/>
          </ac:spMkLst>
        </pc:spChg>
        <pc:spChg chg="add del mod">
          <ac:chgData name="Park, Chahee" userId="2b314349-1f05-4a5b-b39e-17b2a480f60c" providerId="ADAL" clId="{8159D0E3-E8C0-4D4C-B220-23908AA3AE78}" dt="2022-11-29T16:10:25.111" v="1460"/>
          <ac:spMkLst>
            <pc:docMk/>
            <pc:sldMk cId="153520715" sldId="256"/>
            <ac:spMk id="16" creationId="{51F66A39-D6CB-DDB3-B704-5BD483BC7960}"/>
          </ac:spMkLst>
        </pc:spChg>
        <pc:spChg chg="add del mod ord">
          <ac:chgData name="Park, Chahee" userId="2b314349-1f05-4a5b-b39e-17b2a480f60c" providerId="ADAL" clId="{8159D0E3-E8C0-4D4C-B220-23908AA3AE78}" dt="2022-11-29T16:33:35.063" v="1489"/>
          <ac:spMkLst>
            <pc:docMk/>
            <pc:sldMk cId="153520715" sldId="256"/>
            <ac:spMk id="17" creationId="{8C8DAF18-96E8-8AD3-7FF8-C8A6086D020D}"/>
          </ac:spMkLst>
        </pc:spChg>
        <pc:spChg chg="add del mod ord">
          <ac:chgData name="Park, Chahee" userId="2b314349-1f05-4a5b-b39e-17b2a480f60c" providerId="ADAL" clId="{8159D0E3-E8C0-4D4C-B220-23908AA3AE78}" dt="2022-11-29T16:33:45.872" v="1490"/>
          <ac:spMkLst>
            <pc:docMk/>
            <pc:sldMk cId="153520715" sldId="256"/>
            <ac:spMk id="18" creationId="{8E077FDE-D7EF-A9F0-CD9E-35AF3DD598BF}"/>
          </ac:spMkLst>
        </pc:spChg>
        <pc:spChg chg="add del mod">
          <ac:chgData name="Park, Chahee" userId="2b314349-1f05-4a5b-b39e-17b2a480f60c" providerId="ADAL" clId="{8159D0E3-E8C0-4D4C-B220-23908AA3AE78}" dt="2022-11-29T16:35:32.927" v="1568"/>
          <ac:spMkLst>
            <pc:docMk/>
            <pc:sldMk cId="153520715" sldId="256"/>
            <ac:spMk id="19" creationId="{86F9CD6B-21B4-18D4-42D3-46493D710AC9}"/>
          </ac:spMkLst>
        </pc:spChg>
        <pc:spChg chg="add del mod modVis">
          <ac:chgData name="Park, Chahee" userId="2b314349-1f05-4a5b-b39e-17b2a480f60c" providerId="ADAL" clId="{8159D0E3-E8C0-4D4C-B220-23908AA3AE78}" dt="2022-11-29T16:34:52.789" v="1565"/>
          <ac:spMkLst>
            <pc:docMk/>
            <pc:sldMk cId="153520715" sldId="256"/>
            <ac:spMk id="20" creationId="{A028C982-170C-661E-4A94-B7671306C35E}"/>
          </ac:spMkLst>
        </pc:spChg>
        <pc:spChg chg="add del mod">
          <ac:chgData name="Park, Chahee" userId="2b314349-1f05-4a5b-b39e-17b2a480f60c" providerId="ADAL" clId="{8159D0E3-E8C0-4D4C-B220-23908AA3AE78}" dt="2022-11-29T16:35:44.309" v="1571"/>
          <ac:spMkLst>
            <pc:docMk/>
            <pc:sldMk cId="153520715" sldId="256"/>
            <ac:spMk id="21" creationId="{7609640F-B4B9-B320-B0BF-844AF98CC2ED}"/>
          </ac:spMkLst>
        </pc:spChg>
        <pc:spChg chg="add mod">
          <ac:chgData name="Park, Chahee" userId="2b314349-1f05-4a5b-b39e-17b2a480f60c" providerId="ADAL" clId="{8159D0E3-E8C0-4D4C-B220-23908AA3AE78}" dt="2022-11-29T16:44:50.340" v="1790" actId="20577"/>
          <ac:spMkLst>
            <pc:docMk/>
            <pc:sldMk cId="153520715" sldId="256"/>
            <ac:spMk id="22" creationId="{0F12E2D5-0AC9-2944-0F93-17D8E80C0A6E}"/>
          </ac:spMkLst>
        </pc:spChg>
        <pc:spChg chg="add mod">
          <ac:chgData name="Park, Chahee" userId="2b314349-1f05-4a5b-b39e-17b2a480f60c" providerId="ADAL" clId="{8159D0E3-E8C0-4D4C-B220-23908AA3AE78}" dt="2022-11-29T16:44:32.699" v="1784" actId="1076"/>
          <ac:spMkLst>
            <pc:docMk/>
            <pc:sldMk cId="153520715" sldId="256"/>
            <ac:spMk id="24" creationId="{B136BFAA-7628-6B6D-F08D-E2D5AD59C810}"/>
          </ac:spMkLst>
        </pc:spChg>
        <pc:graphicFrameChg chg="add mod modVis replST">
          <ac:chgData name="Park, Chahee" userId="2b314349-1f05-4a5b-b39e-17b2a480f60c" providerId="ADAL" clId="{8159D0E3-E8C0-4D4C-B220-23908AA3AE78}" dt="2022-11-29T16:34:52.792" v="1567"/>
          <ac:graphicFrameMkLst>
            <pc:docMk/>
            <pc:sldMk cId="153520715" sldId="256"/>
            <ac:graphicFrameMk id="4" creationId="{49FE2BD2-5BE3-9250-5492-38C492BC7A15}"/>
          </ac:graphicFrameMkLst>
        </pc:graphicFrameChg>
        <pc:picChg chg="add mod">
          <ac:chgData name="Park, Chahee" userId="2b314349-1f05-4a5b-b39e-17b2a480f60c" providerId="ADAL" clId="{8159D0E3-E8C0-4D4C-B220-23908AA3AE78}" dt="2022-11-29T16:44:57.504" v="1791" actId="14100"/>
          <ac:picMkLst>
            <pc:docMk/>
            <pc:sldMk cId="153520715" sldId="256"/>
            <ac:picMk id="10" creationId="{2C122129-E483-E307-4D87-74FF5DDF5D9E}"/>
          </ac:picMkLst>
        </pc:picChg>
        <pc:picChg chg="add mod">
          <ac:chgData name="Park, Chahee" userId="2b314349-1f05-4a5b-b39e-17b2a480f60c" providerId="ADAL" clId="{8159D0E3-E8C0-4D4C-B220-23908AA3AE78}" dt="2022-11-29T16:36:13.334" v="1585" actId="1076"/>
          <ac:picMkLst>
            <pc:docMk/>
            <pc:sldMk cId="153520715" sldId="256"/>
            <ac:picMk id="23" creationId="{6D308899-6F8B-3EBD-8210-EA459BFC8DDF}"/>
          </ac:picMkLst>
        </pc:picChg>
        <pc:picChg chg="add del mod">
          <ac:chgData name="Park, Chahee" userId="2b314349-1f05-4a5b-b39e-17b2a480f60c" providerId="ADAL" clId="{8159D0E3-E8C0-4D4C-B220-23908AA3AE78}" dt="2022-11-29T16:04:58.065" v="1378" actId="21"/>
          <ac:picMkLst>
            <pc:docMk/>
            <pc:sldMk cId="153520715" sldId="256"/>
            <ac:picMk id="1026" creationId="{851EDB66-6D64-0D07-9941-38A27A611327}"/>
          </ac:picMkLst>
        </pc:picChg>
        <pc:picChg chg="add del mod">
          <ac:chgData name="Park, Chahee" userId="2b314349-1f05-4a5b-b39e-17b2a480f60c" providerId="ADAL" clId="{8159D0E3-E8C0-4D4C-B220-23908AA3AE78}" dt="2022-11-29T16:35:42.162" v="1569" actId="478"/>
          <ac:picMkLst>
            <pc:docMk/>
            <pc:sldMk cId="153520715" sldId="256"/>
            <ac:picMk id="1028" creationId="{A9984B1C-1DB1-06BE-4B2D-614357EB406C}"/>
          </ac:picMkLst>
        </pc:picChg>
        <pc:picChg chg="add del mod">
          <ac:chgData name="Park, Chahee" userId="2b314349-1f05-4a5b-b39e-17b2a480f60c" providerId="ADAL" clId="{8159D0E3-E8C0-4D4C-B220-23908AA3AE78}" dt="2022-11-29T16:33:58.393" v="1491" actId="478"/>
          <ac:picMkLst>
            <pc:docMk/>
            <pc:sldMk cId="153520715" sldId="256"/>
            <ac:picMk id="1030" creationId="{254317CD-D981-5DB8-6E01-497A0A6C81D3}"/>
          </ac:picMkLst>
        </pc:picChg>
        <pc:picChg chg="add del mod">
          <ac:chgData name="Park, Chahee" userId="2b314349-1f05-4a5b-b39e-17b2a480f60c" providerId="ADAL" clId="{8159D0E3-E8C0-4D4C-B220-23908AA3AE78}" dt="2022-11-29T16:35:43.660" v="1570" actId="21"/>
          <ac:picMkLst>
            <pc:docMk/>
            <pc:sldMk cId="153520715" sldId="256"/>
            <ac:picMk id="1032" creationId="{0F1989F2-A667-B2F8-DCB7-59F3CB1AB4B8}"/>
          </ac:picMkLst>
        </pc:picChg>
      </pc:sldChg>
      <pc:sldChg chg="addSp delSp modSp new add del mod modClrScheme chgLayout">
        <pc:chgData name="Park, Chahee" userId="2b314349-1f05-4a5b-b39e-17b2a480f60c" providerId="ADAL" clId="{8159D0E3-E8C0-4D4C-B220-23908AA3AE78}" dt="2022-11-29T15:51:22.871" v="307" actId="47"/>
        <pc:sldMkLst>
          <pc:docMk/>
          <pc:sldMk cId="769467022" sldId="257"/>
        </pc:sldMkLst>
        <pc:spChg chg="del">
          <ac:chgData name="Park, Chahee" userId="2b314349-1f05-4a5b-b39e-17b2a480f60c" providerId="ADAL" clId="{8159D0E3-E8C0-4D4C-B220-23908AA3AE78}" dt="2022-11-29T15:41:13.787" v="83"/>
          <ac:spMkLst>
            <pc:docMk/>
            <pc:sldMk cId="769467022" sldId="257"/>
            <ac:spMk id="2" creationId="{9EA928F2-223C-71B9-6B9E-8D7B6F0C9FEE}"/>
          </ac:spMkLst>
        </pc:spChg>
        <pc:spChg chg="del">
          <ac:chgData name="Park, Chahee" userId="2b314349-1f05-4a5b-b39e-17b2a480f60c" providerId="ADAL" clId="{8159D0E3-E8C0-4D4C-B220-23908AA3AE78}" dt="2022-11-29T15:41:13.787" v="83"/>
          <ac:spMkLst>
            <pc:docMk/>
            <pc:sldMk cId="769467022" sldId="257"/>
            <ac:spMk id="3" creationId="{7BC1A776-EC6F-30E7-66AB-6C210FDBDCC8}"/>
          </ac:spMkLst>
        </pc:spChg>
        <pc:spChg chg="add del mod">
          <ac:chgData name="Park, Chahee" userId="2b314349-1f05-4a5b-b39e-17b2a480f60c" providerId="ADAL" clId="{8159D0E3-E8C0-4D4C-B220-23908AA3AE78}" dt="2022-11-29T15:50:01.997" v="246" actId="478"/>
          <ac:spMkLst>
            <pc:docMk/>
            <pc:sldMk cId="769467022" sldId="257"/>
            <ac:spMk id="5" creationId="{28109767-DE3B-1922-79CA-B5FF95B0183E}"/>
          </ac:spMkLst>
        </pc:spChg>
        <pc:graphicFrameChg chg="add mod modVis replST">
          <ac:chgData name="Park, Chahee" userId="2b314349-1f05-4a5b-b39e-17b2a480f60c" providerId="ADAL" clId="{8159D0E3-E8C0-4D4C-B220-23908AA3AE78}" dt="2022-11-29T15:41:14.439" v="99"/>
          <ac:graphicFrameMkLst>
            <pc:docMk/>
            <pc:sldMk cId="769467022" sldId="257"/>
            <ac:graphicFrameMk id="4" creationId="{A062D613-F788-E44B-AE1D-A212CB0F13D7}"/>
          </ac:graphicFrameMkLst>
        </pc:graphicFrameChg>
      </pc:sldChg>
      <pc:sldChg chg="addSp delSp modSp new add mod modClrScheme chgLayout">
        <pc:chgData name="Park, Chahee" userId="2b314349-1f05-4a5b-b39e-17b2a480f60c" providerId="ADAL" clId="{8159D0E3-E8C0-4D4C-B220-23908AA3AE78}" dt="2022-11-29T16:46:01.018" v="1819" actId="1076"/>
        <pc:sldMkLst>
          <pc:docMk/>
          <pc:sldMk cId="317574642" sldId="258"/>
        </pc:sldMkLst>
        <pc:spChg chg="add del mod">
          <ac:chgData name="Park, Chahee" userId="2b314349-1f05-4a5b-b39e-17b2a480f60c" providerId="ADAL" clId="{8159D0E3-E8C0-4D4C-B220-23908AA3AE78}" dt="2022-11-29T15:42:55.561" v="154"/>
          <ac:spMkLst>
            <pc:docMk/>
            <pc:sldMk cId="317574642" sldId="258"/>
            <ac:spMk id="2" creationId="{A0A65907-8851-6868-DA60-638636FB7453}"/>
          </ac:spMkLst>
        </pc:spChg>
        <pc:spChg chg="add del mod ord">
          <ac:chgData name="Park, Chahee" userId="2b314349-1f05-4a5b-b39e-17b2a480f60c" providerId="ADAL" clId="{8159D0E3-E8C0-4D4C-B220-23908AA3AE78}" dt="2022-11-29T15:43:12.374" v="162"/>
          <ac:spMkLst>
            <pc:docMk/>
            <pc:sldMk cId="317574642" sldId="258"/>
            <ac:spMk id="3" creationId="{7316E051-AE04-CF2C-010C-C2D476BCAD48}"/>
          </ac:spMkLst>
        </pc:spChg>
        <pc:spChg chg="add mod ord">
          <ac:chgData name="Park, Chahee" userId="2b314349-1f05-4a5b-b39e-17b2a480f60c" providerId="ADAL" clId="{8159D0E3-E8C0-4D4C-B220-23908AA3AE78}" dt="2022-11-29T16:45:48.814" v="1816" actId="6549"/>
          <ac:spMkLst>
            <pc:docMk/>
            <pc:sldMk cId="317574642" sldId="258"/>
            <ac:spMk id="4" creationId="{17290BD4-A99D-22E4-9781-54A607A73DAC}"/>
          </ac:spMkLst>
        </pc:spChg>
        <pc:spChg chg="add mod ord">
          <ac:chgData name="Park, Chahee" userId="2b314349-1f05-4a5b-b39e-17b2a480f60c" providerId="ADAL" clId="{8159D0E3-E8C0-4D4C-B220-23908AA3AE78}" dt="2022-11-29T16:04:41.584" v="1334" actId="948"/>
          <ac:spMkLst>
            <pc:docMk/>
            <pc:sldMk cId="317574642" sldId="258"/>
            <ac:spMk id="5" creationId="{75FE3E0B-042B-1C55-032D-DB36D7480E44}"/>
          </ac:spMkLst>
        </pc:spChg>
        <pc:spChg chg="add mod ord">
          <ac:chgData name="Park, Chahee" userId="2b314349-1f05-4a5b-b39e-17b2a480f60c" providerId="ADAL" clId="{8159D0E3-E8C0-4D4C-B220-23908AA3AE78}" dt="2022-11-29T16:45:07.764" v="1794"/>
          <ac:spMkLst>
            <pc:docMk/>
            <pc:sldMk cId="317574642" sldId="258"/>
            <ac:spMk id="6" creationId="{C2E930FE-9E20-EEBB-66C5-0672C2C63735}"/>
          </ac:spMkLst>
        </pc:spChg>
        <pc:spChg chg="add mod ord">
          <ac:chgData name="Park, Chahee" userId="2b314349-1f05-4a5b-b39e-17b2a480f60c" providerId="ADAL" clId="{8159D0E3-E8C0-4D4C-B220-23908AA3AE78}" dt="2022-11-29T16:37:58.915" v="1628" actId="14100"/>
          <ac:spMkLst>
            <pc:docMk/>
            <pc:sldMk cId="317574642" sldId="258"/>
            <ac:spMk id="7" creationId="{329B52F4-75E0-DFED-9FB6-384688083D95}"/>
          </ac:spMkLst>
        </pc:spChg>
        <pc:spChg chg="add mod ord">
          <ac:chgData name="Park, Chahee" userId="2b314349-1f05-4a5b-b39e-17b2a480f60c" providerId="ADAL" clId="{8159D0E3-E8C0-4D4C-B220-23908AA3AE78}" dt="2022-11-29T16:42:09.446" v="1718" actId="1076"/>
          <ac:spMkLst>
            <pc:docMk/>
            <pc:sldMk cId="317574642" sldId="258"/>
            <ac:spMk id="8" creationId="{5DF8D8F6-E9E0-2F9B-7F9A-3D12253E88B3}"/>
          </ac:spMkLst>
        </pc:spChg>
        <pc:spChg chg="add mod">
          <ac:chgData name="Park, Chahee" userId="2b314349-1f05-4a5b-b39e-17b2a480f60c" providerId="ADAL" clId="{8159D0E3-E8C0-4D4C-B220-23908AA3AE78}" dt="2022-11-29T16:09:43.440" v="1434" actId="1076"/>
          <ac:spMkLst>
            <pc:docMk/>
            <pc:sldMk cId="317574642" sldId="258"/>
            <ac:spMk id="12" creationId="{6D82357C-62C0-67E9-7480-5B817BA1A44B}"/>
          </ac:spMkLst>
        </pc:spChg>
        <pc:spChg chg="add del mod">
          <ac:chgData name="Park, Chahee" userId="2b314349-1f05-4a5b-b39e-17b2a480f60c" providerId="ADAL" clId="{8159D0E3-E8C0-4D4C-B220-23908AA3AE78}" dt="2022-11-29T16:10:40.354" v="1485" actId="478"/>
          <ac:spMkLst>
            <pc:docMk/>
            <pc:sldMk cId="317574642" sldId="258"/>
            <ac:spMk id="13" creationId="{3FA74CCB-F6BD-0369-F45C-6EBB2927C398}"/>
          </ac:spMkLst>
        </pc:spChg>
        <pc:spChg chg="add del mod modVis">
          <ac:chgData name="Park, Chahee" userId="2b314349-1f05-4a5b-b39e-17b2a480f60c" providerId="ADAL" clId="{8159D0E3-E8C0-4D4C-B220-23908AA3AE78}" dt="2022-11-29T16:04:25.939" v="1156"/>
          <ac:spMkLst>
            <pc:docMk/>
            <pc:sldMk cId="317574642" sldId="258"/>
            <ac:spMk id="14" creationId="{35CDCF63-17DB-5422-59C0-B1A0763DC3E7}"/>
          </ac:spMkLst>
        </pc:spChg>
        <pc:spChg chg="add del mod modVis">
          <ac:chgData name="Park, Chahee" userId="2b314349-1f05-4a5b-b39e-17b2a480f60c" providerId="ADAL" clId="{8159D0E3-E8C0-4D4C-B220-23908AA3AE78}" dt="2022-11-29T16:04:33.366" v="1226"/>
          <ac:spMkLst>
            <pc:docMk/>
            <pc:sldMk cId="317574642" sldId="258"/>
            <ac:spMk id="15" creationId="{58297552-020C-8A88-F309-16452C130C92}"/>
          </ac:spMkLst>
        </pc:spChg>
        <pc:spChg chg="add del mod modVis">
          <ac:chgData name="Park, Chahee" userId="2b314349-1f05-4a5b-b39e-17b2a480f60c" providerId="ADAL" clId="{8159D0E3-E8C0-4D4C-B220-23908AA3AE78}" dt="2022-11-29T16:04:36.219" v="1285"/>
          <ac:spMkLst>
            <pc:docMk/>
            <pc:sldMk cId="317574642" sldId="258"/>
            <ac:spMk id="16" creationId="{615321B0-2AA5-C992-BE9D-E1391D994F50}"/>
          </ac:spMkLst>
        </pc:spChg>
        <pc:spChg chg="add del mod modVis">
          <ac:chgData name="Park, Chahee" userId="2b314349-1f05-4a5b-b39e-17b2a480f60c" providerId="ADAL" clId="{8159D0E3-E8C0-4D4C-B220-23908AA3AE78}" dt="2022-11-29T16:04:40.674" v="1330"/>
          <ac:spMkLst>
            <pc:docMk/>
            <pc:sldMk cId="317574642" sldId="258"/>
            <ac:spMk id="17" creationId="{A38D134E-4C18-A42C-BC6F-DCE02208E450}"/>
          </ac:spMkLst>
        </pc:spChg>
        <pc:spChg chg="add del mod modVis">
          <ac:chgData name="Park, Chahee" userId="2b314349-1f05-4a5b-b39e-17b2a480f60c" providerId="ADAL" clId="{8159D0E3-E8C0-4D4C-B220-23908AA3AE78}" dt="2022-11-29T16:04:41.626" v="1375"/>
          <ac:spMkLst>
            <pc:docMk/>
            <pc:sldMk cId="317574642" sldId="258"/>
            <ac:spMk id="18" creationId="{6DB31A3F-1FF1-BDAC-5D60-A25D4044AEA8}"/>
          </ac:spMkLst>
        </pc:spChg>
        <pc:spChg chg="add del mod">
          <ac:chgData name="Park, Chahee" userId="2b314349-1f05-4a5b-b39e-17b2a480f60c" providerId="ADAL" clId="{8159D0E3-E8C0-4D4C-B220-23908AA3AE78}" dt="2022-11-29T16:45:10.019" v="1799"/>
          <ac:spMkLst>
            <pc:docMk/>
            <pc:sldMk cId="317574642" sldId="258"/>
            <ac:spMk id="20" creationId="{EF0F24B7-3F72-DF43-6852-E5769C679216}"/>
          </ac:spMkLst>
        </pc:spChg>
        <pc:graphicFrameChg chg="add mod ord modVis replST">
          <ac:chgData name="Park, Chahee" userId="2b314349-1f05-4a5b-b39e-17b2a480f60c" providerId="ADAL" clId="{8159D0E3-E8C0-4D4C-B220-23908AA3AE78}" dt="2022-11-29T16:04:41.628" v="1377"/>
          <ac:graphicFrameMkLst>
            <pc:docMk/>
            <pc:sldMk cId="317574642" sldId="258"/>
            <ac:graphicFrameMk id="9" creationId="{D87278ED-F882-6921-DCE4-C64F6F0030DE}"/>
          </ac:graphicFrameMkLst>
        </pc:graphicFrameChg>
        <pc:picChg chg="add del mod">
          <ac:chgData name="Park, Chahee" userId="2b314349-1f05-4a5b-b39e-17b2a480f60c" providerId="ADAL" clId="{8159D0E3-E8C0-4D4C-B220-23908AA3AE78}" dt="2022-11-29T16:05:11.691" v="1384" actId="21"/>
          <ac:picMkLst>
            <pc:docMk/>
            <pc:sldMk cId="317574642" sldId="258"/>
            <ac:picMk id="19" creationId="{7258B671-9D6E-AA61-D315-AF147425CD36}"/>
          </ac:picMkLst>
        </pc:picChg>
        <pc:picChg chg="add mod">
          <ac:chgData name="Park, Chahee" userId="2b314349-1f05-4a5b-b39e-17b2a480f60c" providerId="ADAL" clId="{8159D0E3-E8C0-4D4C-B220-23908AA3AE78}" dt="2022-11-29T16:46:01.018" v="1819" actId="1076"/>
          <ac:picMkLst>
            <pc:docMk/>
            <pc:sldMk cId="317574642" sldId="258"/>
            <ac:picMk id="2050" creationId="{54F97F61-90A1-AE9F-2C4F-5077A20A1A61}"/>
          </ac:picMkLst>
        </pc:picChg>
      </pc:sldChg>
      <pc:sldMasterChg chg="addSp delSp modSp mod modSldLayout">
        <pc:chgData name="Park, Chahee" userId="2b314349-1f05-4a5b-b39e-17b2a480f60c" providerId="ADAL" clId="{8159D0E3-E8C0-4D4C-B220-23908AA3AE78}" dt="2022-11-29T15:53:28.054" v="413"/>
        <pc:sldMasterMkLst>
          <pc:docMk/>
          <pc:sldMasterMk cId="4044229475" sldId="2147483648"/>
        </pc:sldMasterMkLst>
        <pc:spChg chg="mod">
          <ac:chgData name="Park, Chahee" userId="2b314349-1f05-4a5b-b39e-17b2a480f60c" providerId="ADAL" clId="{8159D0E3-E8C0-4D4C-B220-23908AA3AE78}" dt="2022-11-29T15:53:27.959" v="370" actId="948"/>
          <ac:spMkLst>
            <pc:docMk/>
            <pc:sldMasterMk cId="4044229475" sldId="2147483648"/>
            <ac:spMk id="2" creationId="{D8834673-E7A4-FF83-16A6-DF302569D8E8}"/>
          </ac:spMkLst>
        </pc:spChg>
        <pc:spChg chg="add del mod modVis">
          <ac:chgData name="Park, Chahee" userId="2b314349-1f05-4a5b-b39e-17b2a480f60c" providerId="ADAL" clId="{8159D0E3-E8C0-4D4C-B220-23908AA3AE78}" dt="2022-11-29T15:53:28.009" v="411"/>
          <ac:spMkLst>
            <pc:docMk/>
            <pc:sldMasterMk cId="4044229475" sldId="2147483648"/>
            <ac:spMk id="7" creationId="{52FDFB45-D727-4571-DC83-A4EB4DD436AC}"/>
          </ac:spMkLst>
        </pc:spChg>
        <pc:spChg chg="add del mod modVis">
          <ac:chgData name="Park, Chahee" userId="2b314349-1f05-4a5b-b39e-17b2a480f60c" providerId="ADAL" clId="{8159D0E3-E8C0-4D4C-B220-23908AA3AE78}" dt="2022-11-28T21:25:55.251" v="61"/>
          <ac:spMkLst>
            <pc:docMk/>
            <pc:sldMasterMk cId="4044229475" sldId="2147483648"/>
            <ac:spMk id="7" creationId="{F2DBB0FB-84AF-E5F5-237C-BEA5746F61BC}"/>
          </ac:spMkLst>
        </pc:spChg>
        <pc:graphicFrameChg chg="add mod ord modVis replST">
          <ac:chgData name="Park, Chahee" userId="2b314349-1f05-4a5b-b39e-17b2a480f60c" providerId="ADAL" clId="{8159D0E3-E8C0-4D4C-B220-23908AA3AE78}" dt="2022-11-29T15:53:28.054" v="413"/>
          <ac:graphicFrameMkLst>
            <pc:docMk/>
            <pc:sldMasterMk cId="4044229475" sldId="2147483648"/>
            <ac:graphicFrameMk id="8" creationId="{1DEC7043-CCAC-D96E-1ED6-1361D9C8FCA3}"/>
          </ac:graphicFrameMkLst>
        </pc:graphicFrameChg>
        <pc:sldLayoutChg chg="addSp delSp modSp mod">
          <pc:chgData name="Park, Chahee" userId="2b314349-1f05-4a5b-b39e-17b2a480f60c" providerId="ADAL" clId="{8159D0E3-E8C0-4D4C-B220-23908AA3AE78}" dt="2022-11-29T15:53:20.311" v="368"/>
          <pc:sldLayoutMkLst>
            <pc:docMk/>
            <pc:sldMasterMk cId="4044229475" sldId="2147483648"/>
            <pc:sldLayoutMk cId="2387756343" sldId="2147483653"/>
          </pc:sldLayoutMkLst>
          <pc:spChg chg="mod">
            <ac:chgData name="Park, Chahee" userId="2b314349-1f05-4a5b-b39e-17b2a480f60c" providerId="ADAL" clId="{8159D0E3-E8C0-4D4C-B220-23908AA3AE78}" dt="2022-11-29T15:53:20.201" v="311" actId="948"/>
            <ac:spMkLst>
              <pc:docMk/>
              <pc:sldMasterMk cId="4044229475" sldId="2147483648"/>
              <pc:sldLayoutMk cId="2387756343" sldId="2147483653"/>
              <ac:spMk id="2" creationId="{47786153-5FDB-B06F-F4A4-8D160BEBEA1F}"/>
            </ac:spMkLst>
          </pc:spChg>
          <pc:spChg chg="mod">
            <ac:chgData name="Park, Chahee" userId="2b314349-1f05-4a5b-b39e-17b2a480f60c" providerId="ADAL" clId="{8159D0E3-E8C0-4D4C-B220-23908AA3AE78}" dt="2022-11-29T15:52:58.092" v="309" actId="1076"/>
            <ac:spMkLst>
              <pc:docMk/>
              <pc:sldMasterMk cId="4044229475" sldId="2147483648"/>
              <pc:sldLayoutMk cId="2387756343" sldId="2147483653"/>
              <ac:spMk id="8" creationId="{CF875255-9954-0B34-40A9-C1D24FA3DBD5}"/>
            </ac:spMkLst>
          </pc:spChg>
          <pc:spChg chg="add del mod modVis">
            <ac:chgData name="Park, Chahee" userId="2b314349-1f05-4a5b-b39e-17b2a480f60c" providerId="ADAL" clId="{8159D0E3-E8C0-4D4C-B220-23908AA3AE78}" dt="2022-11-29T15:53:20.274" v="352"/>
            <ac:spMkLst>
              <pc:docMk/>
              <pc:sldMasterMk cId="4044229475" sldId="2147483648"/>
              <pc:sldLayoutMk cId="2387756343" sldId="2147483653"/>
              <ac:spMk id="10" creationId="{132AFEF8-8FC4-27BE-1907-8C3039F3CA5D}"/>
            </ac:spMkLst>
          </pc:spChg>
          <pc:graphicFrameChg chg="add mod ord modVis replST">
            <ac:chgData name="Park, Chahee" userId="2b314349-1f05-4a5b-b39e-17b2a480f60c" providerId="ADAL" clId="{8159D0E3-E8C0-4D4C-B220-23908AA3AE78}" dt="2022-11-29T15:53:20.311" v="368"/>
            <ac:graphicFrameMkLst>
              <pc:docMk/>
              <pc:sldMasterMk cId="4044229475" sldId="2147483648"/>
              <pc:sldLayoutMk cId="2387756343" sldId="2147483653"/>
              <ac:graphicFrameMk id="11" creationId="{56EBA2AC-F53A-E7EB-5B1D-671720527DC8}"/>
            </ac:graphicFrameMkLst>
          </pc:graphicFrame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E1A123-2C0C-4E0B-92DB-59CA0F340307}" type="datetimeFigureOut">
              <a:rPr lang="en-US" smtClean="0"/>
              <a:t>11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0DF4D7-1992-452E-8A31-EE65B9844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982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DF234-4B5C-D8C3-735B-8D1D09B310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EA5BCB-5681-CFB8-A2A9-4FE1C61F9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FFAF34-262F-CFCC-F061-D57F709E9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91AE-1E2B-481D-94B8-F9E9A291C423}" type="datetime1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0782FC-6792-23B4-7D1D-ED9A9DF2C6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01B53C-9F12-2444-01BF-DB589DAF5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135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2BF7B-01CC-1522-C1BA-80F871FAE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08D2E3-A0BA-7DA9-AA8A-4E67DC983C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28E49-9900-D3B5-B556-DE5B3A04B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832767-DB2D-4619-8098-46623747AA6F}" type="datetime1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101DB-DAF8-3927-A12F-0C8F41E80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BA279E-0AA2-48F0-0D6E-A3DE3727C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4897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E16739-B20E-8626-3E49-5A70494E1C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956F3A-C45A-740F-1757-9DC35C753E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A08AAC-5FDA-2523-31ED-1B8BF8BC5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374D6A-62AE-4933-99C2-7658C2CDB4CF}" type="datetime1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8CFD35-95F0-FBE6-CABA-ACF45DB9F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DBE16F-98D3-C5CF-4343-5548821333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337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AF3EC-57F9-6039-32B6-FC76BC5BF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4FEB5F-FE93-2D19-6FAC-E00C11A7A0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59E9E1-0DDB-7EA0-A8FD-76D7C0638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22CFB-F5B1-4EBC-953B-B3E575910158}" type="datetime1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52DC42-6D88-E768-2C94-9C8EE5562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C87848-371B-3995-9BEE-DAA6BBED3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463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A991B-2C1A-EFAA-5E29-126094C28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79E3DE-7B1B-F104-003E-FEA78D3BC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8DF6C-BF4E-1FD0-8851-5BB99F595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B8567-3BA5-4C13-9FBD-F15A75FA4975}" type="datetime1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61A0F-5D40-6F97-ADA4-2AEDC9C12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BDC065-E447-2B23-4E24-AAF000C8C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005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A3ABF-A543-44A8-4361-3571B950E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6F890E-BA69-591D-870E-713021F0B2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A15E9D-2AFB-D787-A5F1-B354CD4DFD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B34743-83E1-D5B9-AFFF-DC3911DE90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46B11-989E-4FDD-9171-8F3222FA4B20}" type="datetime1">
              <a:rPr lang="en-US" smtClean="0"/>
              <a:t>11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89CFC3-24EB-37B0-8B78-55F7B121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D062CF-1EC6-6F01-24CE-075FE09D0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631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6EBA2AC-F53A-E7EB-5B1D-671720527D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1106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6EBA2AC-F53A-E7EB-5B1D-671720527D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786153-5FDB-B06F-F4A4-8D160BEBE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823913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B28A0-639F-F9E9-DC08-7ECACA4486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37B93D-BF31-E2DF-D791-DA0B1D4B2D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F08D7F-8EFD-D32F-A7C9-A588374492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940D29A-FC53-E709-F099-371B2E59DE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DD9B3E-0B6A-CB93-F26D-6A603D11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003B3-0011-4B92-8E79-A6547469F264}" type="datetime1">
              <a:rPr lang="en-US" smtClean="0"/>
              <a:t>11/2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F875255-9954-0B34-40A9-C1D24FA3D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7A1184-41DA-D38B-93D3-34EECE51D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756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592F0-2C90-B128-D511-AFBC3FE57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284746-FC00-5EE0-565F-8B2DA57D2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FC83C-B33A-45A9-B0EC-08BE36F4562F}" type="datetime1">
              <a:rPr lang="en-US" smtClean="0"/>
              <a:t>11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4F1682-7046-F65A-ACD0-9EFD023DA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D86C45-8EAE-903D-5DBC-2EBBA3616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063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2AD9E8-5329-83FB-69FD-F37C63764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FB844-B07B-48D4-8B04-8BCA3AB8C066}" type="datetime1">
              <a:rPr lang="en-US" smtClean="0"/>
              <a:t>11/2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79C031-1E71-F073-3869-675D1F156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E0A9F-E84A-A76A-108C-D5606E72F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804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C267C-5C7C-5635-C9E2-3AD7F4159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7AFB1F-8672-F5B6-A83C-2C5DFBD30F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52FFB1-C85C-8373-F43D-CEABB59D0C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06F433-EF4B-BF75-C8E6-FB7465EAE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62C7F-BF6D-4FB7-B122-E2FF8F481B25}" type="datetime1">
              <a:rPr lang="en-US" smtClean="0"/>
              <a:t>11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89318A-2609-1BC7-955B-791301A8C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74BDB6-FF34-3B70-B1A6-83FC8F0E5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898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986EA-8AE5-9F6C-0EA6-2294059C3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796393-8CD2-028D-CF0C-1B29DF8406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844F30-F9D8-7427-ABB2-055CF089DB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92BC27-05DA-331A-DB1D-3A38383B2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B17EC-5DD9-4191-A2E9-B555C50C418B}" type="datetime1">
              <a:rPr lang="en-US" smtClean="0"/>
              <a:t>11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2C1828-0B46-B73E-FEF1-77AE07CDB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1DF3E2-04F0-E0BD-F4DA-27840E2F7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609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EC7043-CCAC-D96E-1ED6-1361D9C8FC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4293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EC7043-CCAC-D96E-1ED6-1361D9C8F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834673-E7A4-FF83-16A6-DF302569D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71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06DDC5-96A5-B8AE-BDDE-DF8AE34A54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9B215-65AF-854A-9430-4F1D188E72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29B60C-FF46-48DC-B661-A5BFE43AEBD0}" type="datetime1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953B3-4676-784C-C10A-2BC917058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NFSCI 2415 Chahee Par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64858A-79DC-7017-C7A3-401E7CE3D4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C67914-A2A8-41A7-80FC-F6F87D14EC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229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datasets/sberj127/kpop-hits-through-the-years" TargetMode="External"/><Relationship Id="rId3" Type="http://schemas.openxmlformats.org/officeDocument/2006/relationships/oleObject" Target="../embeddings/oleObject3.bin"/><Relationship Id="rId7" Type="http://schemas.openxmlformats.org/officeDocument/2006/relationships/hyperlink" Target="https://www.kaggle.com/datasets/jcacperalta/twice-korean-singles-lines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FE2BD2-5BE3-9250-5492-38C492BC7A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7838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FE2BD2-5BE3-9250-5492-38C492BC7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3A1EF7C4-8F47-5C09-326F-AA278D3B6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latin typeface="+mn-lt"/>
              </a:rPr>
              <a:t>TWICE UP AND TWICE DOWN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CB3786D-A823-EBDE-0E0D-5B8C83721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7F927-5C57-4B5C-B0F4-B3C805F79BC6}" type="datetime1">
              <a:rPr lang="en-US" smtClean="0"/>
              <a:t>11/29/2022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76B83D6-CE32-448D-C0E1-A0F577F08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SCI 2415 Chahee Park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2C122129-E483-E307-4D87-74FF5DDF5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3800" y="5979539"/>
            <a:ext cx="665973" cy="741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E771FB3B-CE12-A03E-2F70-7AC1B3B552F1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823913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b="1" dirty="0"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C5DE31-61EA-8A94-3B9E-7B9F765B7481}"/>
              </a:ext>
            </a:extLst>
          </p:cNvPr>
          <p:cNvSpPr/>
          <p:nvPr/>
        </p:nvSpPr>
        <p:spPr>
          <a:xfrm>
            <a:off x="577484" y="206773"/>
            <a:ext cx="259128" cy="1073584"/>
          </a:xfrm>
          <a:prstGeom prst="rect">
            <a:avLst/>
          </a:prstGeom>
          <a:solidFill>
            <a:srgbClr val="FF5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0F12E2D5-0AC9-2944-0F93-17D8E80C0A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29089" y="1671484"/>
            <a:ext cx="2890684" cy="2349910"/>
          </a:xfrm>
        </p:spPr>
        <p:txBody>
          <a:bodyPr>
            <a:normAutofit fontScale="77500" lnSpcReduction="20000"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Debuted with </a:t>
            </a:r>
            <a:b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</a:br>
            <a: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two-superstar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No one has received stable line distributions </a:t>
            </a:r>
            <a:b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</a:br>
            <a: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– changes occur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2018-2019: </a:t>
            </a:r>
            <a:b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</a:br>
            <a:r>
              <a:rPr lang="en-US" sz="21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the most noticeable changes with line distributions and the group’s hits frequency in the chart</a:t>
            </a: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6D308899-6F8B-3EBD-8210-EA459BFC8DDF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484" y="1401157"/>
            <a:ext cx="8472948" cy="474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ontent Placeholder 21">
            <a:extLst>
              <a:ext uri="{FF2B5EF4-FFF2-40B4-BE49-F238E27FC236}">
                <a16:creationId xmlns:a16="http://schemas.microsoft.com/office/drawing/2014/main" id="{B136BFAA-7628-6B6D-F08D-E2D5AD59C810}"/>
              </a:ext>
            </a:extLst>
          </p:cNvPr>
          <p:cNvSpPr txBox="1">
            <a:spLocks/>
          </p:cNvSpPr>
          <p:nvPr/>
        </p:nvSpPr>
        <p:spPr>
          <a:xfrm>
            <a:off x="9129089" y="4105902"/>
            <a:ext cx="2890684" cy="204511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000" b="1" dirty="0">
                <a:ea typeface="Yu Mincho" panose="02020400000000000000" pitchFamily="18" charset="-128"/>
                <a:cs typeface="Times New Roman" panose="02020603050405020304" pitchFamily="18" charset="0"/>
              </a:rPr>
              <a:t>Datasets: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Peralta, JC. (August, 2022). TWICE Korean singles lyrics. Kaggle. </a:t>
            </a: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  <a:hlinkClick r:id="rId7"/>
              </a:rPr>
              <a:t>https://www.kaggle.com/datasets/jcacperalta/twice-korean-singles-lines</a:t>
            </a: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900" dirty="0" err="1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Berjamin</a:t>
            </a: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, Sandra Angela. (February, 2022). K-Pop Hits Through The Years. Kaggle. </a:t>
            </a: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  <a:hlinkClick r:id="rId8"/>
              </a:rPr>
              <a:t>https://www.kaggle.com/datasets/sberj127/kpop-hits-through-the-years</a:t>
            </a: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  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Apple Music. (2022). Top 100: South Korea. Apple Music.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9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Spotify. (2022). K-POP ON!. Spotify. </a:t>
            </a:r>
          </a:p>
        </p:txBody>
      </p:sp>
    </p:spTree>
    <p:extLst>
      <p:ext uri="{BB962C8B-B14F-4D97-AF65-F5344CB8AC3E}">
        <p14:creationId xmlns:p14="http://schemas.microsoft.com/office/powerpoint/2010/main" val="153520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87278ED-F882-6921-DCE4-C64F6F0030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7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87278ED-F882-6921-DCE4-C64F6F003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5FE3E0B-042B-1C55-032D-DB36D7480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latin typeface="+mn-lt"/>
              </a:rPr>
              <a:t>Methods and Finding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E930FE-9E20-EEBB-66C5-0672C2C637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287871"/>
            <a:ext cx="5157787" cy="491764"/>
          </a:xfrm>
        </p:spPr>
        <p:txBody>
          <a:bodyPr>
            <a:normAutofit/>
          </a:bodyPr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000" b="1" dirty="0">
                <a:effectLst/>
                <a:latin typeface="Calibri" panose="020F050202020403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Method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290BD4-A99D-22E4-9781-54A607A73D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779635"/>
            <a:ext cx="5659335" cy="4355694"/>
          </a:xfrm>
        </p:spPr>
        <p:txBody>
          <a:bodyPr>
            <a:normAutofit/>
          </a:bodyPr>
          <a:lstStyle/>
          <a:p>
            <a:pPr marL="285750" marR="0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Calibri" panose="020F050202020403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Manipulating Dataset </a:t>
            </a:r>
            <a:endParaRPr lang="en-US" sz="2000" dirty="0">
              <a:effectLst/>
              <a:latin typeface="Times New Roman" panose="02020603050405020304" pitchFamily="18" charset="0"/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effectLst/>
                <a:latin typeface="Calibri" panose="020F050202020403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Groupby</a:t>
            </a:r>
            <a:r>
              <a:rPr lang="en-US" sz="1600" dirty="0">
                <a:effectLst/>
                <a:latin typeface="Calibri" panose="020F050202020403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, </a:t>
            </a:r>
            <a:r>
              <a:rPr lang="en-US" sz="1600" dirty="0">
                <a:latin typeface="Calibri" panose="020F050202020403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Fraction (%), </a:t>
            </a:r>
            <a:r>
              <a:rPr lang="en-US" sz="16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Dictionary</a:t>
            </a:r>
          </a:p>
          <a:p>
            <a:pPr marL="285750" marR="0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  <a:t>Line Plot and </a:t>
            </a:r>
            <a:r>
              <a:rPr lang="en-US" sz="20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Bar Chart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effectLst/>
                <a:latin typeface="Calibri" panose="020F050202020403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Sns.lineplot</a:t>
            </a:r>
            <a:r>
              <a:rPr lang="en-US" sz="1600" dirty="0">
                <a:latin typeface="Calibri" panose="020F0502020204030204" pitchFamily="34" charset="0"/>
                <a:ea typeface="Yu Mincho" panose="02020400000000000000" pitchFamily="18" charset="-128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plt.subplots</a:t>
            </a:r>
            <a:r>
              <a:rPr lang="en-US" sz="16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sns.barplot</a:t>
            </a:r>
            <a:r>
              <a:rPr lang="en-US" sz="1600" dirty="0">
                <a:effectLst/>
                <a:ea typeface="Yu Mincho" panose="02020400000000000000" pitchFamily="18" charset="-128"/>
                <a:cs typeface="Times New Roman" panose="02020603050405020304" pitchFamily="18" charset="0"/>
              </a:rPr>
              <a:t>, overlay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Each line is color-coded by each member’s official color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400" dirty="0">
              <a:ea typeface="Malgun Gothic" panose="020B0503020000020004" pitchFamily="34" charset="-127"/>
              <a:cs typeface="Times New Roman" panose="02020603050405020304" pitchFamily="18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29B52F4-75E0-DFED-9FB6-384688083D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13754" y="1287871"/>
            <a:ext cx="4541634" cy="823912"/>
          </a:xfrm>
        </p:spPr>
        <p:txBody>
          <a:bodyPr>
            <a:normAutofit/>
          </a:bodyPr>
          <a:lstStyle/>
          <a:p>
            <a:r>
              <a:rPr lang="en-US" sz="2000" dirty="0">
                <a:ea typeface="Malgun Gothic" panose="020B0503020000020004" pitchFamily="34" charset="-127"/>
                <a:cs typeface="Times New Roman" panose="02020603050405020304" pitchFamily="18" charset="0"/>
              </a:rPr>
              <a:t>Significances</a:t>
            </a:r>
          </a:p>
          <a:p>
            <a:endParaRPr lang="en-US" sz="20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DF8D8F6-E9E0-2F9B-7F9A-3D12253E88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813754" y="1779635"/>
            <a:ext cx="4541633" cy="4036398"/>
          </a:xfrm>
        </p:spPr>
        <p:txBody>
          <a:bodyPr>
            <a:noAutofit/>
          </a:bodyPr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  <a:t>K-pop industry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  <a:t>K-pop idol groups with many members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  <a:t>Unfair distribution of screen time/line distribution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  <a:t>Line distribution = </a:t>
            </a:r>
            <a:b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</a:br>
            <a: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  <a:t>popularity, Public opinion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a typeface="Yu Mincho" panose="02020400000000000000" pitchFamily="18" charset="-128"/>
                <a:cs typeface="Times New Roman" panose="02020603050405020304" pitchFamily="18" charset="0"/>
              </a:rPr>
              <a:t>Scandalous events are negatively associated with popularity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a typeface="Yu Mincho" panose="02020400000000000000" pitchFamily="18" charset="-128"/>
                <a:cs typeface="Times New Roman" panose="02020603050405020304" pitchFamily="18" charset="0"/>
              </a:rPr>
              <a:t>Tattoo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a typeface="Yu Mincho" panose="02020400000000000000" pitchFamily="18" charset="-128"/>
                <a:cs typeface="Times New Roman" panose="02020603050405020304" pitchFamily="18" charset="0"/>
              </a:rPr>
              <a:t>Dating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dirty="0">
                <a:ea typeface="Yu Mincho" panose="02020400000000000000" pitchFamily="18" charset="-128"/>
                <a:cs typeface="Times New Roman" panose="02020603050405020304" pitchFamily="18" charset="0"/>
              </a:rPr>
              <a:t>Gaining weight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2000" dirty="0">
              <a:effectLst/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938ED471-0359-D3BA-E62D-3E5DEC65B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8E6A-9344-493C-BA0F-9642EDB003D8}" type="datetime1">
              <a:rPr lang="en-US" smtClean="0"/>
              <a:t>11/29/2022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7A26D10-484B-F02D-6762-A1FCFCF27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FSCI 2415 Chahee Pa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82357C-62C0-67E9-7480-5B817BA1A44B}"/>
              </a:ext>
            </a:extLst>
          </p:cNvPr>
          <p:cNvSpPr/>
          <p:nvPr/>
        </p:nvSpPr>
        <p:spPr>
          <a:xfrm>
            <a:off x="577484" y="206773"/>
            <a:ext cx="259128" cy="1073584"/>
          </a:xfrm>
          <a:prstGeom prst="rect">
            <a:avLst/>
          </a:prstGeom>
          <a:solidFill>
            <a:srgbClr val="FCC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4F97F61-90A1-AE9F-2C4F-5077A20A1A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271" y="3873825"/>
            <a:ext cx="4354820" cy="2482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574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1</TotalTime>
  <Words>209</Words>
  <Application>Microsoft Office PowerPoint</Application>
  <PresentationFormat>Widescreen</PresentationFormat>
  <Paragraphs>2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Symbol</vt:lpstr>
      <vt:lpstr>Times New Roman</vt:lpstr>
      <vt:lpstr>Office Theme</vt:lpstr>
      <vt:lpstr>think-cell Slide</vt:lpstr>
      <vt:lpstr>TWICE UP AND TWICE DOWN</vt:lpstr>
      <vt:lpstr>Methods and Find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rk, Chahee</dc:creator>
  <cp:lastModifiedBy>Park, Chahee</cp:lastModifiedBy>
  <cp:revision>1</cp:revision>
  <dcterms:created xsi:type="dcterms:W3CDTF">2022-11-28T21:25:06Z</dcterms:created>
  <dcterms:modified xsi:type="dcterms:W3CDTF">2022-11-29T16:46:02Z</dcterms:modified>
</cp:coreProperties>
</file>